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D$2:$D$229</c:f>
              <c:numCache>
                <c:formatCode>#,##0</c:formatCode>
                <c:ptCount val="22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3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0</c:v>
                </c:pt>
                <c:pt idx="182">
                  <c:v>797</c:v>
                </c:pt>
                <c:pt idx="183">
                  <c:v>803</c:v>
                </c:pt>
                <c:pt idx="184">
                  <c:v>824</c:v>
                </c:pt>
                <c:pt idx="185">
                  <c:v>839</c:v>
                </c:pt>
                <c:pt idx="186">
                  <c:v>849</c:v>
                </c:pt>
                <c:pt idx="187">
                  <c:v>868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7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6</c:v>
                </c:pt>
                <c:pt idx="197">
                  <c:v>925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3</c:v>
                </c:pt>
                <c:pt idx="207">
                  <c:v>880</c:v>
                </c:pt>
                <c:pt idx="208">
                  <c:v>865</c:v>
                </c:pt>
                <c:pt idx="209">
                  <c:v>869</c:v>
                </c:pt>
                <c:pt idx="210">
                  <c:v>843</c:v>
                </c:pt>
                <c:pt idx="211">
                  <c:v>814</c:v>
                </c:pt>
                <c:pt idx="212">
                  <c:v>794</c:v>
                </c:pt>
                <c:pt idx="213">
                  <c:v>766</c:v>
                </c:pt>
                <c:pt idx="214">
                  <c:v>728</c:v>
                </c:pt>
                <c:pt idx="215">
                  <c:v>717</c:v>
                </c:pt>
                <c:pt idx="216">
                  <c:v>713</c:v>
                </c:pt>
                <c:pt idx="217">
                  <c:v>736</c:v>
                </c:pt>
                <c:pt idx="218">
                  <c:v>712</c:v>
                </c:pt>
                <c:pt idx="219">
                  <c:v>678</c:v>
                </c:pt>
                <c:pt idx="220">
                  <c:v>640</c:v>
                </c:pt>
                <c:pt idx="221">
                  <c:v>616</c:v>
                </c:pt>
                <c:pt idx="222">
                  <c:v>614</c:v>
                </c:pt>
                <c:pt idx="223">
                  <c:v>604</c:v>
                </c:pt>
                <c:pt idx="224">
                  <c:v>587</c:v>
                </c:pt>
                <c:pt idx="225">
                  <c:v>553</c:v>
                </c:pt>
                <c:pt idx="226">
                  <c:v>536</c:v>
                </c:pt>
                <c:pt idx="227">
                  <c:v>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B$2:$B$229</c:f>
              <c:numCache>
                <c:formatCode>#,##0</c:formatCode>
                <c:ptCount val="22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C$2:$C$229</c:f>
              <c:numCache>
                <c:formatCode>#,##0</c:formatCode>
                <c:ptCount val="22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D$2:$D$229</c:f>
              <c:numCache>
                <c:formatCode>#,##0</c:formatCode>
                <c:ptCount val="22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3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8</c:v>
                </c:pt>
                <c:pt idx="116">
                  <c:v>1861</c:v>
                </c:pt>
                <c:pt idx="117">
                  <c:v>1986</c:v>
                </c:pt>
                <c:pt idx="118">
                  <c:v>2296</c:v>
                </c:pt>
                <c:pt idx="119">
                  <c:v>2354</c:v>
                </c:pt>
                <c:pt idx="120">
                  <c:v>2476</c:v>
                </c:pt>
                <c:pt idx="121">
                  <c:v>2498</c:v>
                </c:pt>
                <c:pt idx="122">
                  <c:v>2497</c:v>
                </c:pt>
                <c:pt idx="123">
                  <c:v>2682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5</c:v>
                </c:pt>
                <c:pt idx="130">
                  <c:v>2967</c:v>
                </c:pt>
                <c:pt idx="131">
                  <c:v>2975</c:v>
                </c:pt>
                <c:pt idx="132">
                  <c:v>2978</c:v>
                </c:pt>
                <c:pt idx="133">
                  <c:v>3046</c:v>
                </c:pt>
                <c:pt idx="134">
                  <c:v>2968</c:v>
                </c:pt>
                <c:pt idx="135">
                  <c:v>2928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2</c:v>
                </c:pt>
                <c:pt idx="173">
                  <c:v>2804</c:v>
                </c:pt>
                <c:pt idx="174">
                  <c:v>2999</c:v>
                </c:pt>
                <c:pt idx="175">
                  <c:v>3018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19</c:v>
                </c:pt>
                <c:pt idx="183">
                  <c:v>3595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7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5</c:v>
                </c:pt>
                <c:pt idx="198">
                  <c:v>3997</c:v>
                </c:pt>
                <c:pt idx="199">
                  <c:v>3794</c:v>
                </c:pt>
                <c:pt idx="200">
                  <c:v>3721</c:v>
                </c:pt>
                <c:pt idx="201">
                  <c:v>3798</c:v>
                </c:pt>
                <c:pt idx="202">
                  <c:v>3814</c:v>
                </c:pt>
                <c:pt idx="203">
                  <c:v>3685</c:v>
                </c:pt>
                <c:pt idx="204">
                  <c:v>3541</c:v>
                </c:pt>
                <c:pt idx="207">
                  <c:v>3355</c:v>
                </c:pt>
                <c:pt idx="208">
                  <c:v>3384</c:v>
                </c:pt>
                <c:pt idx="209">
                  <c:v>3354</c:v>
                </c:pt>
                <c:pt idx="210">
                  <c:v>3277</c:v>
                </c:pt>
                <c:pt idx="211">
                  <c:v>3144</c:v>
                </c:pt>
                <c:pt idx="212">
                  <c:v>2997</c:v>
                </c:pt>
                <c:pt idx="213">
                  <c:v>2814</c:v>
                </c:pt>
                <c:pt idx="214">
                  <c:v>2770</c:v>
                </c:pt>
                <c:pt idx="215">
                  <c:v>2830</c:v>
                </c:pt>
                <c:pt idx="216">
                  <c:v>2844</c:v>
                </c:pt>
                <c:pt idx="217">
                  <c:v>3045</c:v>
                </c:pt>
                <c:pt idx="218">
                  <c:v>2867</c:v>
                </c:pt>
                <c:pt idx="219">
                  <c:v>2691</c:v>
                </c:pt>
                <c:pt idx="220">
                  <c:v>2422</c:v>
                </c:pt>
                <c:pt idx="221">
                  <c:v>2336</c:v>
                </c:pt>
                <c:pt idx="222">
                  <c:v>2349</c:v>
                </c:pt>
                <c:pt idx="223">
                  <c:v>2336</c:v>
                </c:pt>
                <c:pt idx="224">
                  <c:v>2240</c:v>
                </c:pt>
                <c:pt idx="225">
                  <c:v>2107</c:v>
                </c:pt>
                <c:pt idx="226">
                  <c:v>1963</c:v>
                </c:pt>
                <c:pt idx="227">
                  <c:v>1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7"/>
              <c:layout>
                <c:manualLayout>
                  <c:x val="-8.4504880832907154E-8"/>
                  <c:y val="-4.9396283362822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B$2:$B$229</c:f>
              <c:numCache>
                <c:formatCode>#,##0</c:formatCode>
                <c:ptCount val="22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C$2:$C$229</c:f>
              <c:numCache>
                <c:formatCode>#,##0</c:formatCode>
                <c:ptCount val="22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D$2:$D$229</c:f>
              <c:numCache>
                <c:formatCode>#,##0</c:formatCode>
                <c:ptCount val="22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7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69</c:v>
                </c:pt>
                <c:pt idx="173">
                  <c:v>1283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4</c:v>
                </c:pt>
                <c:pt idx="182">
                  <c:v>1595</c:v>
                </c:pt>
                <c:pt idx="183">
                  <c:v>1622</c:v>
                </c:pt>
                <c:pt idx="184">
                  <c:v>1648</c:v>
                </c:pt>
                <c:pt idx="185">
                  <c:v>1668</c:v>
                </c:pt>
                <c:pt idx="186">
                  <c:v>1672</c:v>
                </c:pt>
                <c:pt idx="187">
                  <c:v>1675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1</c:v>
                </c:pt>
                <c:pt idx="193">
                  <c:v>1779</c:v>
                </c:pt>
                <c:pt idx="194">
                  <c:v>1826</c:v>
                </c:pt>
                <c:pt idx="195">
                  <c:v>1884</c:v>
                </c:pt>
                <c:pt idx="196">
                  <c:v>1891</c:v>
                </c:pt>
                <c:pt idx="197">
                  <c:v>1860</c:v>
                </c:pt>
                <c:pt idx="198">
                  <c:v>1860</c:v>
                </c:pt>
                <c:pt idx="199">
                  <c:v>1820</c:v>
                </c:pt>
                <c:pt idx="200">
                  <c:v>1781</c:v>
                </c:pt>
                <c:pt idx="201">
                  <c:v>1805</c:v>
                </c:pt>
                <c:pt idx="202">
                  <c:v>1825</c:v>
                </c:pt>
                <c:pt idx="203">
                  <c:v>1778</c:v>
                </c:pt>
                <c:pt idx="204">
                  <c:v>1746</c:v>
                </c:pt>
                <c:pt idx="207">
                  <c:v>1649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58</c:v>
                </c:pt>
                <c:pt idx="212">
                  <c:v>1512</c:v>
                </c:pt>
                <c:pt idx="213">
                  <c:v>1428</c:v>
                </c:pt>
                <c:pt idx="214">
                  <c:v>1401</c:v>
                </c:pt>
                <c:pt idx="215">
                  <c:v>1381</c:v>
                </c:pt>
                <c:pt idx="216">
                  <c:v>1351</c:v>
                </c:pt>
                <c:pt idx="217">
                  <c:v>1403</c:v>
                </c:pt>
                <c:pt idx="218">
                  <c:v>1373</c:v>
                </c:pt>
                <c:pt idx="219">
                  <c:v>1326</c:v>
                </c:pt>
                <c:pt idx="220">
                  <c:v>1248</c:v>
                </c:pt>
                <c:pt idx="221">
                  <c:v>1231</c:v>
                </c:pt>
                <c:pt idx="222">
                  <c:v>1215</c:v>
                </c:pt>
                <c:pt idx="223">
                  <c:v>1199</c:v>
                </c:pt>
                <c:pt idx="224">
                  <c:v>1177</c:v>
                </c:pt>
                <c:pt idx="225">
                  <c:v>1131</c:v>
                </c:pt>
                <c:pt idx="226">
                  <c:v>1073</c:v>
                </c:pt>
                <c:pt idx="227">
                  <c:v>1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B$2:$B$229</c:f>
              <c:numCache>
                <c:formatCode>#,##0</c:formatCode>
                <c:ptCount val="22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C$2:$C$229</c:f>
              <c:numCache>
                <c:formatCode>#,##0</c:formatCode>
                <c:ptCount val="22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D$2:$D$229</c:f>
              <c:numCache>
                <c:formatCode>#,##0</c:formatCode>
                <c:ptCount val="22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19</c:v>
                </c:pt>
                <c:pt idx="226">
                  <c:v>20</c:v>
                </c:pt>
                <c:pt idx="227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B$2:$B$229</c:f>
              <c:numCache>
                <c:formatCode>#,##0</c:formatCode>
                <c:ptCount val="22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9</c:f>
              <c:numCache>
                <c:formatCode>m/d/yyyy</c:formatCode>
                <c:ptCount val="22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</c:numCache>
            </c:numRef>
          </c:cat>
          <c:val>
            <c:numRef>
              <c:f>Sheet1!$C$2:$C$229</c:f>
              <c:numCache>
                <c:formatCode>#,##0</c:formatCode>
                <c:ptCount val="22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7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7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24796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9161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0750814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4051871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78114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77771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8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6</cp:revision>
  <dcterms:created xsi:type="dcterms:W3CDTF">2020-08-08T14:25:07Z</dcterms:created>
  <dcterms:modified xsi:type="dcterms:W3CDTF">2021-04-17T03:12:10Z</dcterms:modified>
</cp:coreProperties>
</file>